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8"/>
  </p:notesMasterIdLst>
  <p:handoutMasterIdLst>
    <p:handoutMasterId r:id="rId9"/>
  </p:handoutMasterIdLst>
  <p:sldIdLst>
    <p:sldId id="341" r:id="rId2"/>
    <p:sldId id="417" r:id="rId3"/>
    <p:sldId id="419" r:id="rId4"/>
    <p:sldId id="420" r:id="rId5"/>
    <p:sldId id="351" r:id="rId6"/>
    <p:sldId id="352" r:id="rId7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DB930659-2DAF-4CC7-99C4-C3030F036389}">
          <p14:sldIdLst>
            <p14:sldId id="341"/>
            <p14:sldId id="417"/>
            <p14:sldId id="419"/>
            <p14:sldId id="420"/>
            <p14:sldId id="351"/>
            <p14:sldId id="35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109">
          <p15:clr>
            <a:srgbClr val="A4A3A4"/>
          </p15:clr>
        </p15:guide>
        <p15:guide id="4" orient="horz" pos="543">
          <p15:clr>
            <a:srgbClr val="A4A3A4"/>
          </p15:clr>
        </p15:guide>
        <p15:guide id="5" orient="horz" pos="3129">
          <p15:clr>
            <a:srgbClr val="A4A3A4"/>
          </p15:clr>
        </p15:guide>
        <p15:guide id="6" orient="horz" pos="1195">
          <p15:clr>
            <a:srgbClr val="A4A3A4"/>
          </p15:clr>
        </p15:guide>
        <p15:guide id="7" orient="horz" pos="1487">
          <p15:clr>
            <a:srgbClr val="A4A3A4"/>
          </p15:clr>
        </p15:guide>
        <p15:guide id="8" orient="horz" pos="1767">
          <p15:clr>
            <a:srgbClr val="A4A3A4"/>
          </p15:clr>
        </p15:guide>
        <p15:guide id="9" orient="horz" pos="2057">
          <p15:clr>
            <a:srgbClr val="A4A3A4"/>
          </p15:clr>
        </p15:guide>
        <p15:guide id="10" orient="horz" pos="2550">
          <p15:clr>
            <a:srgbClr val="A4A3A4"/>
          </p15:clr>
        </p15:guide>
        <p15:guide id="11" orient="horz" pos="2838">
          <p15:clr>
            <a:srgbClr val="A4A3A4"/>
          </p15:clr>
        </p15:guide>
        <p15:guide id="12" pos="4560">
          <p15:clr>
            <a:srgbClr val="A4A3A4"/>
          </p15:clr>
        </p15:guide>
        <p15:guide id="13" pos="606">
          <p15:clr>
            <a:srgbClr val="A4A3A4"/>
          </p15:clr>
        </p15:guide>
        <p15:guide id="14" pos="695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9F00"/>
    <a:srgbClr val="1003BD"/>
    <a:srgbClr val="B9B9B9"/>
    <a:srgbClr val="8D1A1D"/>
    <a:srgbClr val="B3ADAE"/>
    <a:srgbClr val="99CCFF"/>
    <a:srgbClr val="08445F"/>
    <a:srgbClr val="0072B2"/>
    <a:srgbClr val="B2B2B2"/>
    <a:srgbClr val="D55E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740" autoAdjust="0"/>
    <p:restoredTop sz="90854" autoAdjust="0"/>
  </p:normalViewPr>
  <p:slideViewPr>
    <p:cSldViewPr snapToGrid="0" showGuides="1">
      <p:cViewPr varScale="1">
        <p:scale>
          <a:sx n="68" d="100"/>
          <a:sy n="68" d="100"/>
        </p:scale>
        <p:origin x="672" y="60"/>
      </p:cViewPr>
      <p:guideLst>
        <p:guide orient="horz" pos="2160"/>
        <p:guide pos="3840"/>
        <p:guide orient="horz" pos="109"/>
        <p:guide orient="horz" pos="543"/>
        <p:guide orient="horz" pos="3129"/>
        <p:guide orient="horz" pos="1195"/>
        <p:guide orient="horz" pos="1487"/>
        <p:guide orient="horz" pos="1767"/>
        <p:guide orient="horz" pos="2057"/>
        <p:guide orient="horz" pos="2550"/>
        <p:guide orient="horz" pos="2838"/>
        <p:guide pos="4560"/>
        <p:guide pos="606"/>
        <p:guide pos="695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howGuides="1">
      <p:cViewPr varScale="1">
        <p:scale>
          <a:sx n="64" d="100"/>
          <a:sy n="64" d="100"/>
        </p:scale>
        <p:origin x="-3130" y="-82"/>
      </p:cViewPr>
      <p:guideLst>
        <p:guide orient="horz" pos="2880"/>
        <p:guide pos="2160"/>
      </p:guideLst>
    </p:cSldViewPr>
  </p:notesViewPr>
  <p:gridSpacing cx="38405" cy="384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767AC6-C659-4032-A28D-65D9D70E53DA}" type="datetimeFigureOut">
              <a:rPr lang="en-US" smtClean="0"/>
              <a:t>9/25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6D107A5-F85A-436A-8D20-D105C48A5D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850798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825D74-24E9-DE49-A191-4CD67806FFD1}" type="datetimeFigureOut">
              <a:rPr lang="de-DE" smtClean="0"/>
              <a:t>25.09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F432F1-620C-DE4D-B911-DA986EACDC5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31274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1FCA7687-F02F-7541-B844-ABD011DDC0D1}"/>
              </a:ext>
            </a:extLst>
          </p:cNvPr>
          <p:cNvSpPr/>
          <p:nvPr userDrawn="1"/>
        </p:nvSpPr>
        <p:spPr>
          <a:xfrm>
            <a:off x="1207911" y="2020711"/>
            <a:ext cx="9787467" cy="408657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7897680" cy="1548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800"/>
              </a:lnSpc>
              <a:defRPr sz="2300" baseline="0">
                <a:solidFill>
                  <a:srgbClr val="8E1F3B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3707733" cy="2160000"/>
          </a:xfrm>
        </p:spPr>
        <p:txBody>
          <a:bodyPr anchor="b" anchorCtr="0"/>
          <a:lstStyle>
            <a:lvl1pPr marL="0" indent="0" algn="l">
              <a:lnSpc>
                <a:spcPts val="2400"/>
              </a:lnSpc>
              <a:spcBef>
                <a:spcPts val="2300"/>
              </a:spcBef>
              <a:buNone/>
              <a:defRPr sz="1900" b="0" spc="19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Formatvorlage des Untertitelmasters durch Klicken bearbeiten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B6CBE7-1545-4E8E-9750-1FCBFC4001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46993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elfoli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1FCA7687-F02F-7541-B844-ABD011DDC0D1}"/>
              </a:ext>
            </a:extLst>
          </p:cNvPr>
          <p:cNvSpPr/>
          <p:nvPr userDrawn="1"/>
        </p:nvSpPr>
        <p:spPr>
          <a:xfrm>
            <a:off x="1207911" y="2020711"/>
            <a:ext cx="9787467" cy="4086578"/>
          </a:xfrm>
          <a:prstGeom prst="rect">
            <a:avLst/>
          </a:prstGeom>
          <a:solidFill>
            <a:srgbClr val="8D1A1D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3769360"/>
            <a:ext cx="8324400" cy="82296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8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4136711" cy="2160000"/>
          </a:xfrm>
        </p:spPr>
        <p:txBody>
          <a:bodyPr anchor="b" anchorCtr="0"/>
          <a:lstStyle>
            <a:lvl1pPr marL="0" indent="0" algn="l">
              <a:lnSpc>
                <a:spcPts val="2400"/>
              </a:lnSpc>
              <a:spcBef>
                <a:spcPts val="2300"/>
              </a:spcBef>
              <a:buNone/>
              <a:defRPr sz="1900" b="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Formatvorlage des Untertitelmasters durch Klicken bearbeiten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B6CBE7-1545-4E8E-9750-1FCBFC4001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49483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it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2020711"/>
            <a:ext cx="9747249" cy="4086578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812800" y="1016000"/>
            <a:ext cx="3451225" cy="1840089"/>
          </a:xfrm>
          <a:prstGeom prst="rect">
            <a:avLst/>
          </a:prstGeom>
          <a:solidFill>
            <a:srgbClr val="8D1A1D"/>
          </a:solidFill>
          <a:ln>
            <a:solidFill>
              <a:srgbClr val="8D1A1D"/>
            </a:solidFill>
          </a:ln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8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D6017DF-16E5-4F68-B2C1-0378C00DDDE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57871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8331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20000"/>
              </a:lnSpc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 sz="1800">
                <a:solidFill>
                  <a:schemeClr val="tx1"/>
                </a:solidFill>
              </a:defRPr>
            </a:lvl1pPr>
            <a:lvl2pPr>
              <a:lnSpc>
                <a:spcPct val="120000"/>
              </a:lnSpc>
              <a:tabLst>
                <a:tab pos="180000" algn="l"/>
                <a:tab pos="360000" algn="l"/>
                <a:tab pos="576000" algn="l"/>
              </a:tabLst>
              <a:defRPr sz="1800" kern="600" spc="40" baseline="0">
                <a:solidFill>
                  <a:schemeClr val="tx1"/>
                </a:solidFill>
              </a:defRPr>
            </a:lvl2pPr>
            <a:lvl3pPr>
              <a:lnSpc>
                <a:spcPct val="120000"/>
              </a:lnSpc>
              <a:defRPr sz="1800" b="0">
                <a:solidFill>
                  <a:schemeClr val="tx1"/>
                </a:solidFill>
              </a:defRPr>
            </a:lvl3pPr>
            <a:lvl4pPr>
              <a:lnSpc>
                <a:spcPct val="120000"/>
              </a:lnSpc>
              <a:defRPr sz="1800" b="1" kern="600" spc="40" baseline="0">
                <a:solidFill>
                  <a:schemeClr val="tx1"/>
                </a:solidFill>
              </a:defRPr>
            </a:lvl4pPr>
            <a:lvl5pPr>
              <a:lnSpc>
                <a:spcPct val="120000"/>
              </a:lnSpc>
              <a:defRPr sz="1800" kern="600" spc="40" baseline="0">
                <a:solidFill>
                  <a:schemeClr val="tx1"/>
                </a:solidFill>
              </a:defRPr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51461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8779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1pPr>
              <a:lnSpc>
                <a:spcPct val="120000"/>
              </a:lnSpc>
              <a:defRPr sz="1800">
                <a:solidFill>
                  <a:schemeClr val="tx1"/>
                </a:solidFill>
              </a:defRPr>
            </a:lvl1pPr>
            <a:lvl2pPr>
              <a:defRPr/>
            </a:lvl2pPr>
            <a:lvl3pPr>
              <a:lnSpc>
                <a:spcPct val="120000"/>
              </a:lnSpc>
              <a:defRPr sz="1800" b="0">
                <a:solidFill>
                  <a:schemeClr val="tx1"/>
                </a:solidFill>
              </a:defRPr>
            </a:lvl3pPr>
            <a:lvl4pPr>
              <a:lnSpc>
                <a:spcPct val="120000"/>
              </a:lnSpc>
              <a:defRPr sz="1800" b="1">
                <a:solidFill>
                  <a:schemeClr val="tx1"/>
                </a:solidFill>
              </a:defRPr>
            </a:lvl4pPr>
            <a:lvl5pPr>
              <a:lnSpc>
                <a:spcPct val="120000"/>
              </a:lnSpc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0" y="2097088"/>
            <a:ext cx="5148263" cy="4310912"/>
          </a:xfrm>
        </p:spPr>
        <p:txBody>
          <a:bodyPr/>
          <a:lstStyle>
            <a:lvl1pPr>
              <a:lnSpc>
                <a:spcPct val="120000"/>
              </a:lnSpc>
              <a:defRPr sz="1800">
                <a:solidFill>
                  <a:schemeClr val="tx1"/>
                </a:solidFill>
              </a:defRPr>
            </a:lvl1pPr>
            <a:lvl2pPr>
              <a:lnSpc>
                <a:spcPct val="120000"/>
              </a:lnSpc>
              <a:defRPr sz="1800">
                <a:solidFill>
                  <a:schemeClr val="tx1"/>
                </a:solidFill>
              </a:defRPr>
            </a:lvl2pPr>
            <a:lvl3pPr>
              <a:lnSpc>
                <a:spcPct val="120000"/>
              </a:lnSpc>
              <a:defRPr sz="1800" b="0">
                <a:solidFill>
                  <a:schemeClr val="tx1"/>
                </a:solidFill>
              </a:defRPr>
            </a:lvl3pPr>
            <a:lvl4pPr>
              <a:lnSpc>
                <a:spcPct val="120000"/>
              </a:lnSpc>
              <a:defRPr sz="1800" b="1">
                <a:solidFill>
                  <a:schemeClr val="tx1"/>
                </a:solidFill>
              </a:defRPr>
            </a:lvl4pPr>
            <a:lvl5pPr>
              <a:lnSpc>
                <a:spcPct val="120000"/>
              </a:lnSpc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41C9CA6-6D1C-4ADA-8260-CCE7AD3CBD8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</a:t>
            </a:r>
            <a:endParaRPr lang="de-DE" dirty="0"/>
          </a:p>
        </p:txBody>
      </p:sp>
      <p:sp>
        <p:nvSpPr>
          <p:cNvPr id="8" name="Title 8">
            <a:extLst>
              <a:ext uri="{FF2B5EF4-FFF2-40B4-BE49-F238E27FC236}">
                <a16:creationId xmlns:a16="http://schemas.microsoft.com/office/drawing/2014/main" id="{B9FF6589-208D-EB40-B483-E5F8DF134B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813262"/>
            <a:ext cx="9740856" cy="1283824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4047026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4701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2097088"/>
            <a:ext cx="10296524" cy="4310912"/>
          </a:xfrm>
        </p:spPr>
        <p:txBody>
          <a:bodyPr numCol="1" spcCol="540000"/>
          <a:lstStyle>
            <a:lvl1pPr>
              <a:lnSpc>
                <a:spcPct val="120000"/>
              </a:lnSpc>
              <a:defRPr sz="1800">
                <a:solidFill>
                  <a:schemeClr val="tx1"/>
                </a:solidFill>
              </a:defRPr>
            </a:lvl1pPr>
            <a:lvl2pPr>
              <a:lnSpc>
                <a:spcPct val="120000"/>
              </a:lnSpc>
              <a:defRPr sz="1800">
                <a:solidFill>
                  <a:schemeClr val="tx1"/>
                </a:solidFill>
              </a:defRPr>
            </a:lvl2pPr>
            <a:lvl3pPr>
              <a:lnSpc>
                <a:spcPct val="120000"/>
              </a:lnSpc>
              <a:defRPr sz="1800" b="0">
                <a:solidFill>
                  <a:schemeClr val="tx1"/>
                </a:solidFill>
              </a:defRPr>
            </a:lvl3pPr>
            <a:lvl4pPr>
              <a:lnSpc>
                <a:spcPct val="120000"/>
              </a:lnSpc>
              <a:defRPr sz="1800" b="1">
                <a:solidFill>
                  <a:schemeClr val="tx1"/>
                </a:solidFill>
              </a:defRPr>
            </a:lvl4pPr>
            <a:lvl5pPr>
              <a:lnSpc>
                <a:spcPct val="120000"/>
              </a:lnSpc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1A4F4E8-41E6-43E5-86D4-144034C85E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</a:t>
            </a:r>
            <a:endParaRPr lang="de-DE" dirty="0"/>
          </a:p>
        </p:txBody>
      </p:sp>
      <p:sp>
        <p:nvSpPr>
          <p:cNvPr id="7" name="Title 8">
            <a:extLst>
              <a:ext uri="{FF2B5EF4-FFF2-40B4-BE49-F238E27FC236}">
                <a16:creationId xmlns:a16="http://schemas.microsoft.com/office/drawing/2014/main" id="{AA5BA017-A349-4547-A095-6A28324BB7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813262"/>
            <a:ext cx="9740856" cy="1283824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353369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805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8" y="2097088"/>
            <a:ext cx="3228845" cy="4310912"/>
          </a:xfrm>
        </p:spPr>
        <p:txBody>
          <a:bodyPr/>
          <a:lstStyle>
            <a:lvl1pPr>
              <a:lnSpc>
                <a:spcPct val="130000"/>
              </a:lnSpc>
              <a:defRPr sz="1600">
                <a:solidFill>
                  <a:schemeClr val="tx1"/>
                </a:solidFill>
              </a:defRPr>
            </a:lvl1pPr>
            <a:lvl2pPr>
              <a:lnSpc>
                <a:spcPct val="130000"/>
              </a:lnSpc>
              <a:defRPr sz="1600">
                <a:solidFill>
                  <a:schemeClr val="tx1"/>
                </a:solidFill>
              </a:defRPr>
            </a:lvl2pPr>
            <a:lvl3pPr>
              <a:lnSpc>
                <a:spcPct val="130000"/>
              </a:lnSpc>
              <a:defRPr sz="1600" b="0">
                <a:solidFill>
                  <a:schemeClr val="tx1"/>
                </a:solidFill>
              </a:defRPr>
            </a:lvl3pPr>
            <a:lvl4pPr>
              <a:lnSpc>
                <a:spcPct val="130000"/>
              </a:lnSpc>
              <a:defRPr sz="1600" b="1">
                <a:solidFill>
                  <a:schemeClr val="tx1"/>
                </a:solidFill>
              </a:defRPr>
            </a:lvl4pPr>
            <a:lvl5pPr>
              <a:lnSpc>
                <a:spcPct val="130000"/>
              </a:lnSpc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481578" y="2097086"/>
            <a:ext cx="3228845" cy="4310912"/>
          </a:xfrm>
        </p:spPr>
        <p:txBody>
          <a:bodyPr/>
          <a:lstStyle>
            <a:lvl1pPr>
              <a:lnSpc>
                <a:spcPct val="130000"/>
              </a:lnSpc>
              <a:defRPr sz="1600">
                <a:solidFill>
                  <a:schemeClr val="tx1"/>
                </a:solidFill>
              </a:defRPr>
            </a:lvl1pPr>
            <a:lvl2pPr>
              <a:lnSpc>
                <a:spcPct val="130000"/>
              </a:lnSpc>
              <a:defRPr sz="1600">
                <a:solidFill>
                  <a:schemeClr val="tx1"/>
                </a:solidFill>
              </a:defRPr>
            </a:lvl2pPr>
            <a:lvl3pPr>
              <a:lnSpc>
                <a:spcPct val="130000"/>
              </a:lnSpc>
              <a:defRPr sz="1600" b="0">
                <a:solidFill>
                  <a:schemeClr val="tx1"/>
                </a:solidFill>
              </a:defRPr>
            </a:lvl3pPr>
            <a:lvl4pPr>
              <a:lnSpc>
                <a:spcPct val="130000"/>
              </a:lnSpc>
              <a:defRPr sz="1600" b="1">
                <a:solidFill>
                  <a:schemeClr val="tx1"/>
                </a:solidFill>
              </a:defRPr>
            </a:lvl4pPr>
            <a:lvl5pPr>
              <a:lnSpc>
                <a:spcPct val="130000"/>
              </a:lnSpc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015418" y="2097088"/>
            <a:ext cx="3228845" cy="4310912"/>
          </a:xfrm>
        </p:spPr>
        <p:txBody>
          <a:bodyPr/>
          <a:lstStyle>
            <a:lvl1pPr>
              <a:lnSpc>
                <a:spcPct val="130000"/>
              </a:lnSpc>
              <a:defRPr sz="1600">
                <a:solidFill>
                  <a:schemeClr val="tx1"/>
                </a:solidFill>
              </a:defRPr>
            </a:lvl1pPr>
            <a:lvl2pPr>
              <a:lnSpc>
                <a:spcPct val="130000"/>
              </a:lnSpc>
              <a:defRPr sz="1600">
                <a:solidFill>
                  <a:schemeClr val="tx1"/>
                </a:solidFill>
              </a:defRPr>
            </a:lvl2pPr>
            <a:lvl3pPr>
              <a:lnSpc>
                <a:spcPct val="130000"/>
              </a:lnSpc>
              <a:defRPr sz="1600" b="0">
                <a:solidFill>
                  <a:schemeClr val="tx1"/>
                </a:solidFill>
              </a:defRPr>
            </a:lvl3pPr>
            <a:lvl4pPr>
              <a:lnSpc>
                <a:spcPct val="130000"/>
              </a:lnSpc>
              <a:defRPr sz="1600" b="1">
                <a:solidFill>
                  <a:schemeClr val="tx1"/>
                </a:solidFill>
              </a:defRPr>
            </a:lvl4pPr>
            <a:lvl5pPr>
              <a:lnSpc>
                <a:spcPct val="130000"/>
              </a:lnSpc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67601A5-58AC-4B70-8384-E8B22377E0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</a:t>
            </a:r>
            <a:endParaRPr lang="de-DE" dirty="0"/>
          </a:p>
        </p:txBody>
      </p:sp>
      <p:sp>
        <p:nvSpPr>
          <p:cNvPr id="10" name="Title 8">
            <a:extLst>
              <a:ext uri="{FF2B5EF4-FFF2-40B4-BE49-F238E27FC236}">
                <a16:creationId xmlns:a16="http://schemas.microsoft.com/office/drawing/2014/main" id="{930500AC-72D1-E94E-B004-A9ED30D1C7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813262"/>
            <a:ext cx="9753212" cy="1283824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693434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+1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0566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821828" y="2097088"/>
            <a:ext cx="3422436" cy="4310912"/>
          </a:xfrm>
        </p:spPr>
        <p:txBody>
          <a:bodyPr/>
          <a:lstStyle>
            <a:lvl1pPr>
              <a:lnSpc>
                <a:spcPct val="120000"/>
              </a:lnSpc>
              <a:defRPr sz="1800">
                <a:solidFill>
                  <a:schemeClr val="tx1"/>
                </a:solidFill>
              </a:defRPr>
            </a:lvl1pPr>
            <a:lvl2pPr>
              <a:lnSpc>
                <a:spcPct val="120000"/>
              </a:lnSpc>
              <a:defRPr sz="1800">
                <a:solidFill>
                  <a:schemeClr val="tx1"/>
                </a:solidFill>
              </a:defRPr>
            </a:lvl2pPr>
            <a:lvl3pPr>
              <a:lnSpc>
                <a:spcPct val="120000"/>
              </a:lnSpc>
              <a:defRPr sz="1800" b="0">
                <a:solidFill>
                  <a:schemeClr val="tx1"/>
                </a:solidFill>
              </a:defRPr>
            </a:lvl3pPr>
            <a:lvl4pPr>
              <a:lnSpc>
                <a:spcPct val="120000"/>
              </a:lnSpc>
              <a:defRPr sz="1800" b="1">
                <a:solidFill>
                  <a:schemeClr val="tx1"/>
                </a:solidFill>
              </a:defRPr>
            </a:lvl4pPr>
            <a:lvl5pPr>
              <a:lnSpc>
                <a:spcPct val="120000"/>
              </a:lnSpc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47739" y="2097088"/>
            <a:ext cx="6660000" cy="4310912"/>
          </a:xfrm>
        </p:spPr>
        <p:txBody>
          <a:bodyPr/>
          <a:lstStyle>
            <a:lvl1pPr>
              <a:lnSpc>
                <a:spcPct val="120000"/>
              </a:lnSpc>
              <a:defRPr sz="1800">
                <a:solidFill>
                  <a:schemeClr val="tx1"/>
                </a:solidFill>
              </a:defRPr>
            </a:lvl1pPr>
            <a:lvl2pPr>
              <a:lnSpc>
                <a:spcPct val="120000"/>
              </a:lnSpc>
              <a:defRPr sz="1800">
                <a:solidFill>
                  <a:schemeClr val="tx1"/>
                </a:solidFill>
              </a:defRPr>
            </a:lvl2pPr>
            <a:lvl3pPr>
              <a:lnSpc>
                <a:spcPct val="120000"/>
              </a:lnSpc>
              <a:defRPr sz="1800" b="0">
                <a:solidFill>
                  <a:schemeClr val="tx1"/>
                </a:solidFill>
              </a:defRPr>
            </a:lvl3pPr>
            <a:lvl4pPr>
              <a:lnSpc>
                <a:spcPct val="120000"/>
              </a:lnSpc>
              <a:defRPr sz="1800" b="1">
                <a:solidFill>
                  <a:schemeClr val="tx1"/>
                </a:solidFill>
              </a:defRPr>
            </a:lvl4pPr>
            <a:lvl5pPr>
              <a:lnSpc>
                <a:spcPct val="120000"/>
              </a:lnSpc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902DFC1-1B36-4B69-A65A-1E64FEF5C1F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</a:t>
            </a:r>
            <a:endParaRPr lang="de-DE" dirty="0"/>
          </a:p>
        </p:txBody>
      </p:sp>
      <p:sp>
        <p:nvSpPr>
          <p:cNvPr id="8" name="Title 8">
            <a:extLst>
              <a:ext uri="{FF2B5EF4-FFF2-40B4-BE49-F238E27FC236}">
                <a16:creationId xmlns:a16="http://schemas.microsoft.com/office/drawing/2014/main" id="{54B59DE1-0A1D-E442-B44C-0645F9F54C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813262"/>
            <a:ext cx="9728499" cy="1283824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6775671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er / Abschluss">
    <p:bg>
      <p:bgPr>
        <a:blipFill dpi="0"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1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3429000"/>
            <a:ext cx="5449246" cy="162194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450D214-B6EE-034A-8488-56AD7621828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998" y="5050940"/>
            <a:ext cx="1218350" cy="561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3817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949532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6" name="think-cell Folie" r:id="rId14" imgW="384" imgH="385" progId="TCLayout.ActiveDocument.1">
                  <p:embed/>
                </p:oleObj>
              </mc:Choice>
              <mc:Fallback>
                <p:oleObj name="think-cell Folie" r:id="rId1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813262"/>
            <a:ext cx="9698534" cy="1283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8 </a:t>
            </a:r>
            <a:r>
              <a:rPr lang="de-DE" dirty="0" err="1"/>
              <a:t>pt</a:t>
            </a:r>
            <a:r>
              <a:rPr lang="de-DE" dirty="0"/>
              <a:t>,  gesperrt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2097087"/>
            <a:ext cx="10296524" cy="4319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Ebene 1: Headlines</a:t>
            </a:r>
          </a:p>
          <a:p>
            <a:pPr lvl="1"/>
            <a:r>
              <a:rPr lang="de-DE" dirty="0"/>
              <a:t>Ebene 2: Fließtext</a:t>
            </a:r>
          </a:p>
          <a:p>
            <a:pPr lvl="3"/>
            <a:r>
              <a:rPr lang="de-DE" dirty="0"/>
              <a:t>Ebene 3: Stichpunkte</a:t>
            </a:r>
          </a:p>
          <a:p>
            <a:pPr lvl="2"/>
            <a:r>
              <a:rPr lang="de-DE" dirty="0"/>
              <a:t>Ebene 4: Stichpunkte hervorgehoben</a:t>
            </a:r>
          </a:p>
          <a:p>
            <a:pPr lvl="4"/>
            <a:r>
              <a:rPr lang="de-DE" dirty="0"/>
              <a:t>Ebene 5: Stichpunkte eingerückt</a:t>
            </a:r>
          </a:p>
          <a:p>
            <a:pPr lvl="5"/>
            <a:r>
              <a:rPr lang="de-DE" dirty="0"/>
              <a:t>Ebene 6: Stichpunkte weiter eingerückt</a:t>
            </a:r>
          </a:p>
          <a:p>
            <a:pPr lvl="6"/>
            <a:r>
              <a:rPr lang="de-DE" dirty="0"/>
              <a:t>Ebene 7: Zusatzinfo</a:t>
            </a:r>
          </a:p>
          <a:p>
            <a:pPr lvl="7"/>
            <a:r>
              <a:rPr lang="de-DE" dirty="0"/>
              <a:t>Ebene 8: Bildunterschrif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16674"/>
            <a:ext cx="5825020" cy="216514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6273" y="159154"/>
            <a:ext cx="1218350" cy="561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465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01" r:id="rId2"/>
    <p:sldLayoutId id="2147483697" r:id="rId3"/>
    <p:sldLayoutId id="2147483662" r:id="rId4"/>
    <p:sldLayoutId id="2147483664" r:id="rId5"/>
    <p:sldLayoutId id="2147483668" r:id="rId6"/>
    <p:sldLayoutId id="2147483698" r:id="rId7"/>
    <p:sldLayoutId id="2147483673" r:id="rId8"/>
    <p:sldLayoutId id="2147483663" r:id="rId9"/>
  </p:sldLayoutIdLst>
  <p:hf hd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spcAft>
          <a:spcPts val="1800"/>
        </a:spcAft>
        <a:buNone/>
        <a:defRPr sz="2300" b="1" kern="600" cap="all" spc="140" baseline="0">
          <a:solidFill>
            <a:srgbClr val="8E1F3B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1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97">
          <p15:clr>
            <a:srgbClr val="F26B43"/>
          </p15:clr>
        </p15:guide>
        <p15:guide id="2" orient="horz" pos="1321">
          <p15:clr>
            <a:srgbClr val="F26B43"/>
          </p15:clr>
        </p15:guide>
        <p15:guide id="3" pos="7083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483">
          <p15:clr>
            <a:srgbClr val="F26B43"/>
          </p15:clr>
        </p15:guide>
        <p15:guide id="6" orient="horz" pos="436">
          <p15:clr>
            <a:srgbClr val="F26B43"/>
          </p15:clr>
        </p15:guide>
        <p15:guide id="7" orient="horz" pos="4065">
          <p15:clr>
            <a:srgbClr val="F26B43"/>
          </p15:clr>
        </p15:guide>
        <p15:guide id="8" orient="horz" pos="4178">
          <p15:clr>
            <a:srgbClr val="F26B43"/>
          </p15:clr>
        </p15:guide>
        <p15:guide id="9" pos="166">
          <p15:clr>
            <a:srgbClr val="F26B43"/>
          </p15:clr>
        </p15:guide>
        <p15:guide id="10" pos="751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3680" y="2466975"/>
            <a:ext cx="9433242" cy="1207216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800" dirty="0" err="1"/>
              <a:t>Lifeineq</a:t>
            </a:r>
            <a:r>
              <a:rPr lang="en-US" sz="2800" dirty="0"/>
              <a:t>: an R-package for all of your lifespan inequality estimation needs</a:t>
            </a:r>
            <a:endParaRPr lang="en-US" sz="2800" b="0" dirty="0">
              <a:latin typeface="+mn-lt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3680" y="3798831"/>
            <a:ext cx="8971280" cy="2223093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endParaRPr lang="en-US" sz="24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it-IT" sz="28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it-IT" sz="2800" dirty="0"/>
              <a:t>Alyson van Raalte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it-IT" sz="2000" dirty="0"/>
              <a:t>in collaboration with Tim Riffe, Christian Dudel</a:t>
            </a:r>
            <a:endParaRPr lang="it-IT" sz="16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6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b="1" dirty="0"/>
              <a:t>EAPS-HMM Meeting Bilbao</a:t>
            </a:r>
            <a:endParaRPr lang="en-US" sz="18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Autumn 2024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Institut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emographic</a:t>
            </a:r>
            <a:r>
              <a:rPr lang="de-DE" dirty="0"/>
              <a:t> </a:t>
            </a:r>
            <a:r>
              <a:rPr lang="de-DE" dirty="0" err="1"/>
              <a:t>resear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10422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1BEA33C-B2E2-4514-9F33-194FB71E03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83" y="2090774"/>
            <a:ext cx="7915275" cy="448627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2139F22-D326-40BE-AF84-1D7D1934D2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</a:t>
            </a:r>
            <a:endParaRPr lang="de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049B471-4208-4C84-8489-50B69CAD96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oosing an index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7B342F95-0253-47BE-9183-E587407293A1}"/>
              </a:ext>
            </a:extLst>
          </p:cNvPr>
          <p:cNvCxnSpPr>
            <a:cxnSpLocks/>
          </p:cNvCxnSpPr>
          <p:nvPr/>
        </p:nvCxnSpPr>
        <p:spPr>
          <a:xfrm>
            <a:off x="4125118" y="4349565"/>
            <a:ext cx="1180618" cy="0"/>
          </a:xfrm>
          <a:prstGeom prst="straightConnector1">
            <a:avLst/>
          </a:prstGeom>
          <a:ln w="41275" cmpd="sng">
            <a:solidFill>
              <a:srgbClr val="08445F"/>
            </a:solidFill>
            <a:prstDash val="solid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A6E14AFE-2CD1-43F9-8EF0-57D69E887EB1}"/>
              </a:ext>
            </a:extLst>
          </p:cNvPr>
          <p:cNvCxnSpPr>
            <a:cxnSpLocks/>
          </p:cNvCxnSpPr>
          <p:nvPr/>
        </p:nvCxnSpPr>
        <p:spPr>
          <a:xfrm>
            <a:off x="3488511" y="4455665"/>
            <a:ext cx="1689904" cy="0"/>
          </a:xfrm>
          <a:prstGeom prst="straightConnector1">
            <a:avLst/>
          </a:prstGeom>
          <a:ln w="41275" cmpd="sng">
            <a:solidFill>
              <a:srgbClr val="8D1A1D"/>
            </a:solidFill>
            <a:prstDash val="solid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Picture 47">
            <a:extLst>
              <a:ext uri="{FF2B5EF4-FFF2-40B4-BE49-F238E27FC236}">
                <a16:creationId xmlns:a16="http://schemas.microsoft.com/office/drawing/2014/main" id="{A62F27FF-BFFD-4152-B66A-5FFFE056B5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51292" y="1994361"/>
            <a:ext cx="5635753" cy="3843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09979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2139F22-D326-40BE-AF84-1D7D1934D2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</a:t>
            </a:r>
            <a:endParaRPr lang="de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049B471-4208-4C84-8489-50B69CAD96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built-in indices of inequality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668672C-8CF0-43A7-9ACF-001B92C266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5676" y="2156494"/>
            <a:ext cx="10767079" cy="30550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4287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1BEA33C-B2E2-4514-9F33-194FB71E03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83" y="2090774"/>
            <a:ext cx="7915275" cy="448627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2139F22-D326-40BE-AF84-1D7D1934D2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</a:t>
            </a:r>
            <a:endParaRPr lang="de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049B471-4208-4C84-8489-50B69CAD96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oosing an index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7B342F95-0253-47BE-9183-E587407293A1}"/>
              </a:ext>
            </a:extLst>
          </p:cNvPr>
          <p:cNvCxnSpPr>
            <a:cxnSpLocks/>
          </p:cNvCxnSpPr>
          <p:nvPr/>
        </p:nvCxnSpPr>
        <p:spPr>
          <a:xfrm>
            <a:off x="4125118" y="4349565"/>
            <a:ext cx="1180618" cy="0"/>
          </a:xfrm>
          <a:prstGeom prst="straightConnector1">
            <a:avLst/>
          </a:prstGeom>
          <a:ln w="41275" cmpd="sng">
            <a:solidFill>
              <a:srgbClr val="08445F"/>
            </a:solidFill>
            <a:prstDash val="solid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A6E14AFE-2CD1-43F9-8EF0-57D69E887EB1}"/>
              </a:ext>
            </a:extLst>
          </p:cNvPr>
          <p:cNvCxnSpPr>
            <a:cxnSpLocks/>
          </p:cNvCxnSpPr>
          <p:nvPr/>
        </p:nvCxnSpPr>
        <p:spPr>
          <a:xfrm>
            <a:off x="3488511" y="4455665"/>
            <a:ext cx="1689904" cy="0"/>
          </a:xfrm>
          <a:prstGeom prst="straightConnector1">
            <a:avLst/>
          </a:prstGeom>
          <a:ln w="41275" cmpd="sng">
            <a:solidFill>
              <a:srgbClr val="8D1A1D"/>
            </a:solidFill>
            <a:prstDash val="solid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Picture 47">
            <a:extLst>
              <a:ext uri="{FF2B5EF4-FFF2-40B4-BE49-F238E27FC236}">
                <a16:creationId xmlns:a16="http://schemas.microsoft.com/office/drawing/2014/main" id="{A62F27FF-BFFD-4152-B66A-5FFFE056B5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51292" y="1994361"/>
            <a:ext cx="5635753" cy="3843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65129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/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739" y="1799787"/>
            <a:ext cx="10296525" cy="3861196"/>
          </a:xfrm>
        </p:spPr>
      </p:pic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</a:t>
            </a:r>
            <a:endParaRPr lang="de-DE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ttainment distributio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079173" y="3048000"/>
            <a:ext cx="1850571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1600" b="1" dirty="0">
                <a:solidFill>
                  <a:srgbClr val="8D1A1D"/>
                </a:solidFill>
              </a:rPr>
              <a:t>Mean = 65.3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301425" y="3047996"/>
            <a:ext cx="1850571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1600" b="1" dirty="0">
                <a:solidFill>
                  <a:srgbClr val="8D1A1D"/>
                </a:solidFill>
              </a:rPr>
              <a:t>Mean = 67.5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393049" y="3047996"/>
            <a:ext cx="1850571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1600" b="1" dirty="0">
                <a:solidFill>
                  <a:srgbClr val="8D1A1D"/>
                </a:solidFill>
              </a:rPr>
              <a:t>Mean = 78.2</a:t>
            </a:r>
          </a:p>
        </p:txBody>
      </p:sp>
    </p:spTree>
    <p:extLst>
      <p:ext uri="{BB962C8B-B14F-4D97-AF65-F5344CB8AC3E}">
        <p14:creationId xmlns:p14="http://schemas.microsoft.com/office/powerpoint/2010/main" val="3432896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Content Placeholder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738" y="1799787"/>
            <a:ext cx="10296525" cy="3861196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</a:t>
            </a:r>
            <a:endParaRPr lang="de-DE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trike="sngStrike" dirty="0"/>
              <a:t>Attainment distribution</a:t>
            </a:r>
            <a:br>
              <a:rPr lang="en-US" dirty="0"/>
            </a:br>
            <a:r>
              <a:rPr lang="en-US" dirty="0"/>
              <a:t>shortfall distributio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079173" y="3048000"/>
            <a:ext cx="1850571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1600" b="1" strike="sngStrike" dirty="0">
                <a:solidFill>
                  <a:srgbClr val="08445F"/>
                </a:solidFill>
              </a:rPr>
              <a:t>Mean = 65.3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301425" y="3047996"/>
            <a:ext cx="1850571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1600" b="1" strike="sngStrike" dirty="0">
                <a:solidFill>
                  <a:srgbClr val="08445F"/>
                </a:solidFill>
              </a:rPr>
              <a:t>Mean = 67.5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393049" y="3047996"/>
            <a:ext cx="1850571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1600" b="1" strike="sngStrike" dirty="0">
                <a:solidFill>
                  <a:srgbClr val="08445F"/>
                </a:solidFill>
              </a:rPr>
              <a:t>Mean = 78.2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079169" y="3396348"/>
            <a:ext cx="1850571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1600" b="1" i="1" dirty="0">
                <a:solidFill>
                  <a:srgbClr val="8D1A1D"/>
                </a:solidFill>
              </a:rPr>
              <a:t>e</a:t>
            </a:r>
            <a:r>
              <a:rPr lang="en-US" sz="1600" b="1" baseline="-25000" dirty="0">
                <a:solidFill>
                  <a:srgbClr val="8D1A1D"/>
                </a:solidFill>
              </a:rPr>
              <a:t>0</a:t>
            </a:r>
            <a:r>
              <a:rPr lang="en-US" sz="1600" b="1" dirty="0">
                <a:solidFill>
                  <a:srgbClr val="8D1A1D"/>
                </a:solidFill>
              </a:rPr>
              <a:t> = 65.3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344965" y="3407230"/>
            <a:ext cx="1850571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1600" b="1" i="1" dirty="0">
                <a:solidFill>
                  <a:srgbClr val="8D1A1D"/>
                </a:solidFill>
              </a:rPr>
              <a:t>e</a:t>
            </a:r>
            <a:r>
              <a:rPr lang="en-US" sz="1600" b="1" baseline="-25000" dirty="0">
                <a:solidFill>
                  <a:srgbClr val="8D1A1D"/>
                </a:solidFill>
              </a:rPr>
              <a:t>30</a:t>
            </a:r>
            <a:r>
              <a:rPr lang="en-US" sz="1600" b="1" dirty="0">
                <a:solidFill>
                  <a:srgbClr val="8D1A1D"/>
                </a:solidFill>
              </a:rPr>
              <a:t> = 37.5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425699" y="3418112"/>
            <a:ext cx="1850571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1600" b="1" i="1" dirty="0">
                <a:solidFill>
                  <a:srgbClr val="8D1A1D"/>
                </a:solidFill>
              </a:rPr>
              <a:t>e</a:t>
            </a:r>
            <a:r>
              <a:rPr lang="en-US" sz="1600" b="1" baseline="-25000" dirty="0">
                <a:solidFill>
                  <a:srgbClr val="8D1A1D"/>
                </a:solidFill>
              </a:rPr>
              <a:t>65</a:t>
            </a:r>
            <a:r>
              <a:rPr lang="en-US" sz="1600" b="1" dirty="0">
                <a:solidFill>
                  <a:srgbClr val="8D1A1D"/>
                </a:solidFill>
              </a:rPr>
              <a:t> = 13.2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4942113" y="5094509"/>
            <a:ext cx="2688772" cy="29495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1600" b="1" dirty="0">
                <a:solidFill>
                  <a:srgbClr val="8D1A1D"/>
                </a:solidFill>
              </a:rPr>
              <a:t>               0          30          60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8180207" y="5105391"/>
            <a:ext cx="2863024" cy="29495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1600" b="1" dirty="0">
                <a:solidFill>
                  <a:srgbClr val="8D1A1D"/>
                </a:solidFill>
              </a:rPr>
              <a:t>                             0        25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267182" y="5377537"/>
            <a:ext cx="4343562" cy="29495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000" b="1" dirty="0">
                <a:solidFill>
                  <a:srgbClr val="8D1A1D"/>
                </a:solidFill>
              </a:rPr>
              <a:t>REMAINING LIFE EXPECTANCY</a:t>
            </a:r>
          </a:p>
        </p:txBody>
      </p:sp>
    </p:spTree>
    <p:extLst>
      <p:ext uri="{BB962C8B-B14F-4D97-AF65-F5344CB8AC3E}">
        <p14:creationId xmlns:p14="http://schemas.microsoft.com/office/powerpoint/2010/main" val="3400539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PG_2020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PG_2020" id="{D85B1E0F-FC07-44C4-B5D5-89A5E4EADB04}" vid="{5690BFED-3F1A-4D6D-BBF4-324BE8264BF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25704</TotalTime>
  <Words>119</Words>
  <Application>Microsoft Office PowerPoint</Application>
  <PresentationFormat>Widescreen</PresentationFormat>
  <Paragraphs>31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.SF NS Symbols Regular</vt:lpstr>
      <vt:lpstr>Arial</vt:lpstr>
      <vt:lpstr>Calibri</vt:lpstr>
      <vt:lpstr>Symbol</vt:lpstr>
      <vt:lpstr>Wingdings 3</vt:lpstr>
      <vt:lpstr>MPG_2020</vt:lpstr>
      <vt:lpstr>think-cell Folie</vt:lpstr>
      <vt:lpstr>Lifeineq: an R-package for all of your lifespan inequality estimation needs</vt:lpstr>
      <vt:lpstr>Choosing an index</vt:lpstr>
      <vt:lpstr>The built-in indices of inequality</vt:lpstr>
      <vt:lpstr>Choosing an index</vt:lpstr>
      <vt:lpstr>Attainment distribution</vt:lpstr>
      <vt:lpstr>Attainment distribution shortfall distribution</vt:lpstr>
    </vt:vector>
  </TitlesOfParts>
  <Company>Max-Planck-Gesellscha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alija Budimlic</dc:creator>
  <cp:lastModifiedBy>van Raalte, Alyson</cp:lastModifiedBy>
  <cp:revision>399</cp:revision>
  <dcterms:created xsi:type="dcterms:W3CDTF">2020-05-26T07:35:09Z</dcterms:created>
  <dcterms:modified xsi:type="dcterms:W3CDTF">2024-09-25T15:15:57Z</dcterms:modified>
</cp:coreProperties>
</file>